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5" d="100"/>
          <a:sy n="105" d="100"/>
        </p:scale>
        <p:origin x="1716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14.08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2153"/>
            <a:ext cx="2950475" cy="497046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71575" y="1244600"/>
            <a:ext cx="4465638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8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8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8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8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8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08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14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142852"/>
            <a:ext cx="8893652" cy="935534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МУНИЦИПАЛЬНЫХ ОБРАЗОВАНИЙ ПО УРОВНЮ ОТКРЫТОСТИ БЮДЖЕТНЫХ ДАННЫХ ЗА 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ЛУГОДИЕ 2025 ГОДА</a:t>
            </a: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460728" y="1296827"/>
            <a:ext cx="3117578" cy="5040611"/>
          </a:xfrm>
          <a:prstGeom prst="round2Diag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4 МО:</a:t>
            </a: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ександрово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ь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ым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ч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овянн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о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тенский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окоче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Агинское </a:t>
            </a:r>
          </a:p>
          <a:p>
            <a:pPr marL="285750" indent="-285750">
              <a:buFont typeface="Wingdings" panose="05000000000000000000" pitchFamily="2" charset="2"/>
              <a:buChar char="ü"/>
              <a:tabLst>
                <a:tab pos="265113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Чита</a:t>
            </a: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6660232" y="1296827"/>
            <a:ext cx="2188832" cy="5014910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t" anchorCtr="0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:</a:t>
            </a: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 defTabSz="273071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707904" y="1296827"/>
            <a:ext cx="2808312" cy="5040612"/>
          </a:xfrm>
          <a:prstGeom prst="round2DiagRect">
            <a:avLst/>
          </a:prstGeom>
          <a:solidFill>
            <a:srgbClr val="FFC000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МО:</a:t>
            </a:r>
          </a:p>
          <a:p>
            <a:pPr algn="ctr" defTabSz="273071"/>
            <a:endParaRPr lang="ru-RU" sz="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ейский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каме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чико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тровск-Забайкаль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аргу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ёкм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ышев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инский</a:t>
            </a: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лкинский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88" indent="-265113" defTabSz="273071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Горный ЗАТО</a:t>
            </a:r>
          </a:p>
          <a:p>
            <a:pPr marL="357187" defTabSz="273071"/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8</TotalTime>
  <Words>74</Words>
  <Application>Microsoft Office PowerPoint</Application>
  <PresentationFormat>Экран (4:3)</PresentationFormat>
  <Paragraphs>57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Тема Office</vt:lpstr>
      <vt:lpstr>think-cell Slide</vt:lpstr>
      <vt:lpstr>РЕЙТИНГ МУНИЦИПАЛЬНЫХ ОБРАЗОВАНИЙ ПО УРОВНЮ ОТКРЫТОСТИ БЮДЖЕТНЫХ ДАННЫХ ЗА I ПОЛУГОДИЕ 2025 ГОД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Горбунова Ольга Ивановна</cp:lastModifiedBy>
  <cp:revision>31</cp:revision>
  <cp:lastPrinted>2025-08-13T00:29:23Z</cp:lastPrinted>
  <dcterms:created xsi:type="dcterms:W3CDTF">2022-06-27T05:53:54Z</dcterms:created>
  <dcterms:modified xsi:type="dcterms:W3CDTF">2025-08-14T01:09:19Z</dcterms:modified>
</cp:coreProperties>
</file>